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10"/>
  </p:notesMasterIdLst>
  <p:handoutMasterIdLst>
    <p:handoutMasterId r:id="rId11"/>
  </p:handoutMasterIdLst>
  <p:sldIdLst>
    <p:sldId id="749" r:id="rId3"/>
    <p:sldId id="750" r:id="rId4"/>
    <p:sldId id="751" r:id="rId5"/>
    <p:sldId id="754" r:id="rId6"/>
    <p:sldId id="755" r:id="rId7"/>
    <p:sldId id="756" r:id="rId8"/>
    <p:sldId id="757" r:id="rId9"/>
  </p:sldIdLst>
  <p:sldSz cx="12192000" cy="6858000"/>
  <p:notesSz cx="6980238" cy="118872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54"/>
            <p14:sldId id="755"/>
            <p14:sldId id="756"/>
            <p14:sldId id="75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360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5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9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527079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763121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7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257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competitors - </a:t>
            </a:r>
            <a:r>
              <a:rPr lang="en-US" sz="3600" dirty="0">
                <a:solidFill>
                  <a:schemeClr val="tx1"/>
                </a:solidFill>
              </a:rPr>
              <a:t>CME (Chicago Mercantile Exchang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4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  <a:p>
            <a:r>
              <a:rPr lang="en-US" dirty="0"/>
              <a:t>Overall word cloud for Pros and Cons</a:t>
            </a:r>
          </a:p>
          <a:p>
            <a:r>
              <a:rPr lang="en-US" dirty="0"/>
              <a:t>What people liked (based on 5 star ratings)</a:t>
            </a:r>
          </a:p>
          <a:p>
            <a:r>
              <a:rPr lang="en-US" dirty="0"/>
              <a:t>What people liked (based on 4 star ratings)</a:t>
            </a:r>
          </a:p>
          <a:p>
            <a:r>
              <a:rPr lang="en-US"/>
              <a:t>What people liked (based on 3 star ratings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6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Scrapping Glassdoor reviews for competitors given by their employees.</a:t>
            </a:r>
          </a:p>
          <a:p>
            <a:r>
              <a:rPr lang="en-US" sz="1800" dirty="0" smtClean="0"/>
              <a:t>Analyzing reviews of competitors </a:t>
            </a:r>
          </a:p>
          <a:p>
            <a:r>
              <a:rPr lang="en-US" sz="1800" dirty="0" smtClean="0"/>
              <a:t>Identify hidden patterns in dat</a:t>
            </a:r>
            <a:r>
              <a:rPr lang="en-US" sz="1800" dirty="0"/>
              <a:t>a</a:t>
            </a:r>
            <a:r>
              <a:rPr lang="en-US" sz="1800" dirty="0" smtClean="0"/>
              <a:t> about employee engagement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We scrapped close to 90% of reviews.</a:t>
            </a:r>
          </a:p>
          <a:p>
            <a:r>
              <a:rPr lang="en-US" sz="1800" dirty="0" smtClean="0"/>
              <a:t>Total 540 reviews were analyzed.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25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3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food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ulture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ealth insuranc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ed ta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a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advan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ts of politic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137" y="1027517"/>
            <a:ext cx="3143424" cy="32066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5377" y="1046382"/>
            <a:ext cx="2871343" cy="2984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6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5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omp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ee </a:t>
            </a:r>
            <a:r>
              <a:rPr lang="en-US" sz="1600" dirty="0" smtClean="0"/>
              <a:t>snack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l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f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ealth insuranc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5" y="1027517"/>
            <a:ext cx="4762862" cy="5118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52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213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4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reat </a:t>
            </a:r>
            <a:r>
              <a:rPr lang="en-US" sz="1600" dirty="0" smtClean="0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food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ay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sn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ealth insur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ulture</a:t>
            </a:r>
          </a:p>
          <a:p>
            <a:endParaRPr lang="en-US" sz="16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5" y="1162188"/>
            <a:ext cx="4379319" cy="4793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32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3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f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c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omp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smtClean="0"/>
              <a:t>Health care</a:t>
            </a:r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t="5089"/>
          <a:stretch/>
        </p:blipFill>
        <p:spPr>
          <a:xfrm>
            <a:off x="450465" y="1321300"/>
            <a:ext cx="4755752" cy="4820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4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7184</TotalTime>
  <Words>246</Words>
  <Application>Microsoft Office PowerPoint</Application>
  <PresentationFormat>Widescreen</PresentationFormat>
  <Paragraphs>8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competitors - CME (Chicago Mercantile Exchange)</vt:lpstr>
      <vt:lpstr>Agenda</vt:lpstr>
      <vt:lpstr>Executive Summary</vt:lpstr>
      <vt:lpstr>Overall Word Cloud for Pros and Cons</vt:lpstr>
      <vt:lpstr>What people liked (based on 5 star ratings) </vt:lpstr>
      <vt:lpstr>What people liked (based on 4 star ratings) </vt:lpstr>
      <vt:lpstr>What people liked (based on 3 star ratings)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801</cp:revision>
  <cp:lastPrinted>2018-10-09T20:26:37Z</cp:lastPrinted>
  <dcterms:created xsi:type="dcterms:W3CDTF">2018-06-06T19:57:16Z</dcterms:created>
  <dcterms:modified xsi:type="dcterms:W3CDTF">2019-11-14T06:4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